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6" r:id="rId2"/>
  </p:sldMasterIdLst>
  <p:notesMasterIdLst>
    <p:notesMasterId r:id="rId9"/>
  </p:notesMasterIdLst>
  <p:sldIdLst>
    <p:sldId id="666" r:id="rId3"/>
    <p:sldId id="749" r:id="rId4"/>
    <p:sldId id="750" r:id="rId5"/>
    <p:sldId id="751" r:id="rId6"/>
    <p:sldId id="752" r:id="rId7"/>
    <p:sldId id="753" r:id="rId8"/>
  </p:sldIdLst>
  <p:sldSz cx="9906000" cy="6858000" type="A4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70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327910-0332-4839-BC1D-01E6F34B2845}" type="datetimeFigureOut">
              <a:rPr lang="ko-KR" altLang="en-US" smtClean="0"/>
              <a:t>2024-10-1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2900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1C8001-65D7-4267-BE14-39382069683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817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  <a:p>
            <a:endParaRPr lang="en-US" altLang="ko-KR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0CF02A-9CEA-44C9-AAB5-E4D2694C4C1F}" type="slidenum">
              <a:rPr kumimoji="1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6001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D77A30-9081-4D7E-B5BA-D7A4CC5693F4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518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D77A30-9081-4D7E-B5BA-D7A4CC5693F4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459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D77A30-9081-4D7E-B5BA-D7A4CC5693F4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5380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D77A30-9081-4D7E-B5BA-D7A4CC5693F4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4853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sz="105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D77A30-9081-4D7E-B5BA-D7A4CC5693F4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  <a:cs typeface="+mn-cs"/>
              </a:rPr>
              <a:pPr marL="0" marR="0" lvl="0" indent="0" algn="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814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97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4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90949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88282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4" y="365125"/>
            <a:ext cx="2135981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40" y="365125"/>
            <a:ext cx="6284119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434372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0-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13"/>
          <p:cNvSpPr>
            <a:spLocks noGrp="1"/>
          </p:cNvSpPr>
          <p:nvPr>
            <p:ph type="body" sz="quarter" idx="15" hasCustomPrompt="1"/>
          </p:nvPr>
        </p:nvSpPr>
        <p:spPr>
          <a:xfrm>
            <a:off x="6681002" y="43941"/>
            <a:ext cx="2880001" cy="288000"/>
          </a:xfrm>
          <a:prstGeom prst="rect">
            <a:avLst/>
          </a:prstGeom>
        </p:spPr>
        <p:txBody>
          <a:bodyPr lIns="91423" tIns="45712" rIns="91423" bIns="45712" anchor="ctr"/>
          <a:lstStyle>
            <a:lvl1pPr marL="0" marR="0" indent="0" algn="r" defTabSz="8439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2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./1. </a:t>
            </a:r>
            <a:r>
              <a:rPr lang="ko-KR" altLang="en-US" dirty="0"/>
              <a:t>소제목</a:t>
            </a:r>
          </a:p>
        </p:txBody>
      </p:sp>
      <p:sp>
        <p:nvSpPr>
          <p:cNvPr id="33" name="텍스트 개체 틀 11"/>
          <p:cNvSpPr>
            <a:spLocks noGrp="1"/>
          </p:cNvSpPr>
          <p:nvPr>
            <p:ph type="body" sz="quarter" idx="14" hasCustomPrompt="1"/>
          </p:nvPr>
        </p:nvSpPr>
        <p:spPr>
          <a:xfrm>
            <a:off x="345002" y="438452"/>
            <a:ext cx="9216000" cy="720000"/>
          </a:xfrm>
          <a:prstGeom prst="rect">
            <a:avLst/>
          </a:prstGeom>
        </p:spPr>
        <p:txBody>
          <a:bodyPr lIns="91423" tIns="45712" rIns="91423" bIns="45712"/>
          <a:lstStyle>
            <a:lvl1pPr marL="0" marR="0" indent="0" algn="l" defTabSz="8439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62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Governing Message, 18pt</a:t>
            </a:r>
          </a:p>
        </p:txBody>
      </p:sp>
      <p:sp>
        <p:nvSpPr>
          <p:cNvPr id="34" name="텍스트 개체 틀 8"/>
          <p:cNvSpPr>
            <a:spLocks noGrp="1"/>
          </p:cNvSpPr>
          <p:nvPr>
            <p:ph type="body" sz="quarter" idx="13" hasCustomPrompt="1"/>
          </p:nvPr>
        </p:nvSpPr>
        <p:spPr>
          <a:xfrm>
            <a:off x="345004" y="113393"/>
            <a:ext cx="6336000" cy="360000"/>
          </a:xfrm>
          <a:prstGeom prst="rect">
            <a:avLst/>
          </a:prstGeom>
        </p:spPr>
        <p:txBody>
          <a:bodyPr lIns="91423" tIns="45712" rIns="91423" bIns="45712" anchor="ctr"/>
          <a:lstStyle>
            <a:lvl1pPr marL="0" marR="0" indent="0" defTabSz="8439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77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Title, 16pt</a:t>
            </a:r>
          </a:p>
        </p:txBody>
      </p:sp>
      <p:sp>
        <p:nvSpPr>
          <p:cNvPr id="36" name="슬라이드 번호 개체 틀 7"/>
          <p:cNvSpPr>
            <a:spLocks noGrp="1"/>
          </p:cNvSpPr>
          <p:nvPr>
            <p:ph type="sldNum" sz="quarter" idx="4"/>
          </p:nvPr>
        </p:nvSpPr>
        <p:spPr>
          <a:xfrm>
            <a:off x="9698107" y="6739674"/>
            <a:ext cx="207899" cy="113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90000" bIns="0" anchor="ctr">
            <a:spAutoFit/>
          </a:bodyPr>
          <a:lstStyle>
            <a:lvl1pPr algn="r">
              <a:defRPr lang="ko-KR" altLang="en-US" sz="738" b="0" smtClean="0">
                <a:solidFill>
                  <a:schemeClr val="tx2"/>
                </a:solidFill>
                <a:ea typeface="굴림" pitchFamily="50" charset="-127"/>
              </a:defRPr>
            </a:lvl1pPr>
          </a:lstStyle>
          <a:p>
            <a:pPr defTabSz="757479" eaLnBrk="1" fontAlgn="auto" hangingPunct="1"/>
            <a:fld id="{A341CF15-90C7-47A9-8FFA-2FDDB9B7E1D3}" type="slidenum">
              <a:rPr kumimoji="0" lang="en-US" altLang="ko-KR" smtClean="0">
                <a:solidFill>
                  <a:srgbClr val="575757"/>
                </a:solidFill>
                <a:latin typeface="Arial"/>
              </a:rPr>
              <a:pPr defTabSz="757479" eaLnBrk="1" fontAlgn="auto" hangingPunct="1"/>
              <a:t>‹#›</a:t>
            </a:fld>
            <a:endParaRPr kumimoji="0" lang="en-US" altLang="ko-KR" dirty="0">
              <a:solidFill>
                <a:srgbClr val="57575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42333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title" hasCustomPrompt="1"/>
          </p:nvPr>
        </p:nvSpPr>
        <p:spPr>
          <a:xfrm>
            <a:off x="342733" y="1806511"/>
            <a:ext cx="4610273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20000"/>
              </a:lnSpc>
              <a:defRPr lang="ko-KR" altLang="en-US" sz="2954" b="1" dirty="0">
                <a:solidFill>
                  <a:schemeClr val="accent1"/>
                </a:solidFill>
                <a:cs typeface="+mn-cs"/>
              </a:defRPr>
            </a:lvl1pPr>
          </a:lstStyle>
          <a:p>
            <a:pPr marL="0" lvl="0" indent="0" algn="l">
              <a:spcBef>
                <a:spcPts val="0"/>
              </a:spcBef>
              <a:buFont typeface="Arial" panose="020B0604020202020204" pitchFamily="34" charset="0"/>
            </a:pPr>
            <a:r>
              <a:rPr lang="en-US" altLang="ko-KR" dirty="0"/>
              <a:t>Main-title, 32pt</a:t>
            </a:r>
          </a:p>
        </p:txBody>
      </p:sp>
      <p:sp>
        <p:nvSpPr>
          <p:cNvPr id="13" name="텍스트 개체 틀 12"/>
          <p:cNvSpPr>
            <a:spLocks noGrp="1"/>
          </p:cNvSpPr>
          <p:nvPr>
            <p:ph type="body" sz="quarter" idx="10" hasCustomPrompt="1"/>
          </p:nvPr>
        </p:nvSpPr>
        <p:spPr>
          <a:xfrm>
            <a:off x="342733" y="2850056"/>
            <a:ext cx="4610273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20000"/>
              </a:lnSpc>
              <a:defRPr kumimoji="0" lang="ko-KR" altLang="en-US" sz="2585" b="1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</a:defRPr>
            </a:lvl1pPr>
          </a:lstStyle>
          <a:p>
            <a:pPr marL="0" marR="0" lvl="0" indent="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 altLang="ko-KR" dirty="0"/>
              <a:t>Sub-title, 28pt</a:t>
            </a:r>
          </a:p>
        </p:txBody>
      </p:sp>
      <p:sp>
        <p:nvSpPr>
          <p:cNvPr id="19" name="텍스트 개체 틀 18"/>
          <p:cNvSpPr>
            <a:spLocks noGrp="1"/>
          </p:cNvSpPr>
          <p:nvPr>
            <p:ph type="body" sz="quarter" idx="11" hasCustomPrompt="1"/>
          </p:nvPr>
        </p:nvSpPr>
        <p:spPr>
          <a:xfrm>
            <a:off x="342727" y="5927674"/>
            <a:ext cx="3600000" cy="64800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defRPr kumimoji="0" lang="ko-KR" altLang="en-US" sz="1477" b="1" i="0" u="none" strike="noStrike" kern="0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marL="0" marR="0" lvl="0" indent="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dirty="0"/>
              <a:t>Date, 16p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68741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97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4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283651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50570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81" y="1709744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81" y="4589469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557562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90356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365129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198225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60463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733474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41484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31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97" indent="0">
              <a:buNone/>
              <a:defRPr sz="1400"/>
            </a:lvl2pPr>
            <a:lvl3pPr marL="914395" indent="0">
              <a:buNone/>
              <a:defRPr sz="1200"/>
            </a:lvl3pPr>
            <a:lvl4pPr marL="1371592" indent="0">
              <a:buNone/>
              <a:defRPr sz="1000"/>
            </a:lvl4pPr>
            <a:lvl5pPr marL="1828789" indent="0">
              <a:buNone/>
              <a:defRPr sz="1000"/>
            </a:lvl5pPr>
            <a:lvl6pPr marL="2285987" indent="0">
              <a:buNone/>
              <a:defRPr sz="1000"/>
            </a:lvl6pPr>
            <a:lvl7pPr marL="2743184" indent="0">
              <a:buNone/>
              <a:defRPr sz="1000"/>
            </a:lvl7pPr>
            <a:lvl8pPr marL="3200381" indent="0">
              <a:buNone/>
              <a:defRPr sz="1000"/>
            </a:lvl8pPr>
            <a:lvl9pPr marL="3657579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21493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31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97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4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97" indent="0">
              <a:buNone/>
              <a:defRPr sz="1400"/>
            </a:lvl2pPr>
            <a:lvl3pPr marL="914395" indent="0">
              <a:buNone/>
              <a:defRPr sz="1200"/>
            </a:lvl3pPr>
            <a:lvl4pPr marL="1371592" indent="0">
              <a:buNone/>
              <a:defRPr sz="1000"/>
            </a:lvl4pPr>
            <a:lvl5pPr marL="1828789" indent="0">
              <a:buNone/>
              <a:defRPr sz="1000"/>
            </a:lvl5pPr>
            <a:lvl6pPr marL="2285987" indent="0">
              <a:buNone/>
              <a:defRPr sz="1000"/>
            </a:lvl6pPr>
            <a:lvl7pPr marL="2743184" indent="0">
              <a:buNone/>
              <a:defRPr sz="1000"/>
            </a:lvl7pPr>
            <a:lvl8pPr marL="3200381" indent="0">
              <a:buNone/>
              <a:defRPr sz="1000"/>
            </a:lvl8pPr>
            <a:lvl9pPr marL="3657579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080472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947054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4" y="365125"/>
            <a:ext cx="2135981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40" y="365125"/>
            <a:ext cx="6284119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53578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본문0-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텍스트 개체 틀 13"/>
          <p:cNvSpPr>
            <a:spLocks noGrp="1"/>
          </p:cNvSpPr>
          <p:nvPr>
            <p:ph type="body" sz="quarter" idx="15" hasCustomPrompt="1"/>
          </p:nvPr>
        </p:nvSpPr>
        <p:spPr>
          <a:xfrm>
            <a:off x="6681002" y="43941"/>
            <a:ext cx="2880001" cy="288000"/>
          </a:xfrm>
          <a:prstGeom prst="rect">
            <a:avLst/>
          </a:prstGeom>
        </p:spPr>
        <p:txBody>
          <a:bodyPr lIns="91423" tIns="45712" rIns="91423" bIns="45712" anchor="ctr"/>
          <a:lstStyle>
            <a:lvl1pPr marL="0" marR="0" indent="0" algn="r" defTabSz="8439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2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./1. </a:t>
            </a:r>
            <a:r>
              <a:rPr lang="ko-KR" altLang="en-US" dirty="0"/>
              <a:t>소제목</a:t>
            </a:r>
          </a:p>
        </p:txBody>
      </p:sp>
      <p:sp>
        <p:nvSpPr>
          <p:cNvPr id="33" name="텍스트 개체 틀 11"/>
          <p:cNvSpPr>
            <a:spLocks noGrp="1"/>
          </p:cNvSpPr>
          <p:nvPr>
            <p:ph type="body" sz="quarter" idx="14" hasCustomPrompt="1"/>
          </p:nvPr>
        </p:nvSpPr>
        <p:spPr>
          <a:xfrm>
            <a:off x="345002" y="438452"/>
            <a:ext cx="9216000" cy="720000"/>
          </a:xfrm>
          <a:prstGeom prst="rect">
            <a:avLst/>
          </a:prstGeom>
        </p:spPr>
        <p:txBody>
          <a:bodyPr lIns="91423" tIns="45712" rIns="91423" bIns="45712"/>
          <a:lstStyle>
            <a:lvl1pPr marL="0" marR="0" indent="0" algn="l" defTabSz="8439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62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Governing Message, 18pt</a:t>
            </a:r>
          </a:p>
        </p:txBody>
      </p:sp>
      <p:sp>
        <p:nvSpPr>
          <p:cNvPr id="34" name="텍스트 개체 틀 8"/>
          <p:cNvSpPr>
            <a:spLocks noGrp="1"/>
          </p:cNvSpPr>
          <p:nvPr>
            <p:ph type="body" sz="quarter" idx="13" hasCustomPrompt="1"/>
          </p:nvPr>
        </p:nvSpPr>
        <p:spPr>
          <a:xfrm>
            <a:off x="345004" y="113393"/>
            <a:ext cx="6336000" cy="360000"/>
          </a:xfrm>
          <a:prstGeom prst="rect">
            <a:avLst/>
          </a:prstGeom>
        </p:spPr>
        <p:txBody>
          <a:bodyPr lIns="91423" tIns="45712" rIns="91423" bIns="45712" anchor="ctr"/>
          <a:lstStyle>
            <a:lvl1pPr marL="0" marR="0" indent="0" defTabSz="8439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77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Title, 16pt</a:t>
            </a:r>
          </a:p>
        </p:txBody>
      </p:sp>
      <p:sp>
        <p:nvSpPr>
          <p:cNvPr id="36" name="슬라이드 번호 개체 틀 7"/>
          <p:cNvSpPr>
            <a:spLocks noGrp="1"/>
          </p:cNvSpPr>
          <p:nvPr>
            <p:ph type="sldNum" sz="quarter" idx="4"/>
          </p:nvPr>
        </p:nvSpPr>
        <p:spPr>
          <a:xfrm>
            <a:off x="9698107" y="6739674"/>
            <a:ext cx="207899" cy="113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90000" bIns="0" anchor="ctr">
            <a:spAutoFit/>
          </a:bodyPr>
          <a:lstStyle>
            <a:lvl1pPr algn="r">
              <a:defRPr lang="ko-KR" altLang="en-US" sz="738" b="0" smtClean="0">
                <a:solidFill>
                  <a:schemeClr val="tx2"/>
                </a:solidFill>
                <a:ea typeface="굴림" pitchFamily="50" charset="-127"/>
              </a:defRPr>
            </a:lvl1pPr>
          </a:lstStyle>
          <a:p>
            <a:pPr defTabSz="757479" eaLnBrk="1" fontAlgn="auto" hangingPunct="1"/>
            <a:fld id="{A341CF15-90C7-47A9-8FFA-2FDDB9B7E1D3}" type="slidenum">
              <a:rPr kumimoji="0" lang="en-US" altLang="ko-KR" smtClean="0">
                <a:solidFill>
                  <a:srgbClr val="575757"/>
                </a:solidFill>
                <a:latin typeface="Arial"/>
              </a:rPr>
              <a:pPr defTabSz="757479" eaLnBrk="1" fontAlgn="auto" hangingPunct="1"/>
              <a:t>‹#›</a:t>
            </a:fld>
            <a:endParaRPr kumimoji="0" lang="en-US" altLang="ko-KR" dirty="0">
              <a:solidFill>
                <a:srgbClr val="57575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3588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title" hasCustomPrompt="1"/>
          </p:nvPr>
        </p:nvSpPr>
        <p:spPr>
          <a:xfrm>
            <a:off x="342733" y="1806511"/>
            <a:ext cx="4610273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20000"/>
              </a:lnSpc>
              <a:defRPr lang="ko-KR" altLang="en-US" sz="2954" b="1" dirty="0">
                <a:solidFill>
                  <a:schemeClr val="accent1"/>
                </a:solidFill>
                <a:cs typeface="+mn-cs"/>
              </a:defRPr>
            </a:lvl1pPr>
          </a:lstStyle>
          <a:p>
            <a:pPr marL="0" lvl="0" indent="0" algn="l">
              <a:spcBef>
                <a:spcPts val="0"/>
              </a:spcBef>
              <a:buFont typeface="Arial" panose="020B0604020202020204" pitchFamily="34" charset="0"/>
            </a:pPr>
            <a:r>
              <a:rPr lang="en-US" altLang="ko-KR" dirty="0"/>
              <a:t>Main-title, 32pt</a:t>
            </a:r>
          </a:p>
        </p:txBody>
      </p:sp>
      <p:sp>
        <p:nvSpPr>
          <p:cNvPr id="13" name="텍스트 개체 틀 12"/>
          <p:cNvSpPr>
            <a:spLocks noGrp="1"/>
          </p:cNvSpPr>
          <p:nvPr>
            <p:ph type="body" sz="quarter" idx="10" hasCustomPrompt="1"/>
          </p:nvPr>
        </p:nvSpPr>
        <p:spPr>
          <a:xfrm>
            <a:off x="342733" y="2850056"/>
            <a:ext cx="4610273" cy="648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20000"/>
              </a:lnSpc>
              <a:defRPr kumimoji="0" lang="ko-KR" altLang="en-US" sz="2585" b="1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</a:defRPr>
            </a:lvl1pPr>
          </a:lstStyle>
          <a:p>
            <a:pPr marL="0" marR="0" lvl="0" indent="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 altLang="ko-KR" dirty="0"/>
              <a:t>Sub-title, 28pt</a:t>
            </a:r>
          </a:p>
        </p:txBody>
      </p:sp>
      <p:sp>
        <p:nvSpPr>
          <p:cNvPr id="19" name="텍스트 개체 틀 18"/>
          <p:cNvSpPr>
            <a:spLocks noGrp="1"/>
          </p:cNvSpPr>
          <p:nvPr>
            <p:ph type="body" sz="quarter" idx="11" hasCustomPrompt="1"/>
          </p:nvPr>
        </p:nvSpPr>
        <p:spPr>
          <a:xfrm>
            <a:off x="342727" y="5927674"/>
            <a:ext cx="3600000" cy="64800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10000"/>
              </a:lnSpc>
              <a:spcBef>
                <a:spcPts val="92"/>
              </a:spcBef>
              <a:spcAft>
                <a:spcPts val="92"/>
              </a:spcAft>
              <a:defRPr kumimoji="0" lang="ko-KR" altLang="en-US" sz="1477" b="1" i="0" u="none" strike="noStrike" kern="0" cap="none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marL="0" marR="0" lvl="0" indent="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ko-KR" dirty="0"/>
              <a:t>Date, 16p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68510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81" y="1709744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81" y="4589469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67724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1822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365129"/>
            <a:ext cx="8543925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25780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61815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03236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31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97" indent="0">
              <a:buNone/>
              <a:defRPr sz="1400"/>
            </a:lvl2pPr>
            <a:lvl3pPr marL="914395" indent="0">
              <a:buNone/>
              <a:defRPr sz="1200"/>
            </a:lvl3pPr>
            <a:lvl4pPr marL="1371592" indent="0">
              <a:buNone/>
              <a:defRPr sz="1000"/>
            </a:lvl4pPr>
            <a:lvl5pPr marL="1828789" indent="0">
              <a:buNone/>
              <a:defRPr sz="1000"/>
            </a:lvl5pPr>
            <a:lvl6pPr marL="2285987" indent="0">
              <a:buNone/>
              <a:defRPr sz="1000"/>
            </a:lvl6pPr>
            <a:lvl7pPr marL="2743184" indent="0">
              <a:buNone/>
              <a:defRPr sz="1000"/>
            </a:lvl7pPr>
            <a:lvl8pPr marL="3200381" indent="0">
              <a:buNone/>
              <a:defRPr sz="1000"/>
            </a:lvl8pPr>
            <a:lvl9pPr marL="3657579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346134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31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97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4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97" indent="0">
              <a:buNone/>
              <a:defRPr sz="1400"/>
            </a:lvl2pPr>
            <a:lvl3pPr marL="914395" indent="0">
              <a:buNone/>
              <a:defRPr sz="1200"/>
            </a:lvl3pPr>
            <a:lvl4pPr marL="1371592" indent="0">
              <a:buNone/>
              <a:defRPr sz="1000"/>
            </a:lvl4pPr>
            <a:lvl5pPr marL="1828789" indent="0">
              <a:buNone/>
              <a:defRPr sz="1000"/>
            </a:lvl5pPr>
            <a:lvl6pPr marL="2285987" indent="0">
              <a:buNone/>
              <a:defRPr sz="1000"/>
            </a:lvl6pPr>
            <a:lvl7pPr marL="2743184" indent="0">
              <a:buNone/>
              <a:defRPr sz="1000"/>
            </a:lvl7pPr>
            <a:lvl8pPr marL="3200381" indent="0">
              <a:buNone/>
              <a:defRPr sz="1000"/>
            </a:lvl8pPr>
            <a:lvl9pPr marL="3657579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577044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40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40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D67FBB88-DBD5-44D2-98B4-54427DFD891C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2024-10-13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5" y="6356356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96763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l" defTabSz="914395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9" indent="-228599" algn="l" defTabSz="914395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6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3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1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8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85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4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40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40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5" y="6356356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6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fld id="{7910DBC1-0626-47E0-BC6D-88AFCF670D0C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맑은 고딕" panose="020B0503020000020004" pitchFamily="50" charset="-127"/>
              </a:rPr>
              <a:pPr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01927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l" defTabSz="914395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9" indent="-228599" algn="l" defTabSz="914395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6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3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1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8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85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9" algn="l" defTabSz="914395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4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audio" Target="../media/media1.m4a"/><Relationship Id="rId7" Type="http://schemas.openxmlformats.org/officeDocument/2006/relationships/image" Target="../media/image1.emf"/><Relationship Id="rId2" Type="http://schemas.microsoft.com/office/2007/relationships/media" Target="../media/media1.m4a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9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png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473" y="265243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개체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473" y="265243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63480" y="2222207"/>
            <a:ext cx="4255637" cy="648000"/>
          </a:xfrm>
        </p:spPr>
        <p:txBody>
          <a:bodyPr>
            <a:normAutofit fontScale="90000"/>
          </a:bodyPr>
          <a:lstStyle/>
          <a:p>
            <a:pPr algn="l"/>
            <a:r>
              <a:rPr lang="en-US" altLang="ko-KR" sz="2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D</a:t>
            </a:r>
            <a:r>
              <a:rPr lang="ko-KR" altLang="en-US" sz="2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게임프로그래밍</a:t>
            </a:r>
            <a:br>
              <a:rPr lang="en-US" altLang="ko-KR" sz="290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2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29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 프로젝트 발표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0"/>
          </p:nvPr>
        </p:nvSpPr>
        <p:spPr>
          <a:xfrm>
            <a:off x="663481" y="3789041"/>
            <a:ext cx="4255637" cy="648000"/>
          </a:xfrm>
        </p:spPr>
        <p:txBody>
          <a:bodyPr/>
          <a:lstStyle/>
          <a:p>
            <a:pPr marL="0" indent="0">
              <a:buNone/>
            </a:pPr>
            <a:r>
              <a:rPr lang="ko-KR" altLang="en-US" sz="2500" i="1" dirty="0">
                <a:solidFill>
                  <a:srgbClr val="92D05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게임</a:t>
            </a:r>
            <a:r>
              <a:rPr lang="en-US" altLang="ko-KR" sz="2500" i="1" dirty="0">
                <a:solidFill>
                  <a:srgbClr val="92D05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2500" i="1" dirty="0">
                <a:solidFill>
                  <a:srgbClr val="92D05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피카츄 배구 모작</a:t>
            </a:r>
            <a:endParaRPr lang="en-US" altLang="ko-KR" sz="2500" i="1" dirty="0">
              <a:solidFill>
                <a:srgbClr val="92D05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1"/>
          </p:nvPr>
        </p:nvSpPr>
        <p:spPr>
          <a:xfrm>
            <a:off x="663479" y="4832362"/>
            <a:ext cx="3323077" cy="598154"/>
          </a:xfrm>
        </p:spPr>
        <p:txBody>
          <a:bodyPr/>
          <a:lstStyle/>
          <a:p>
            <a:pPr marL="0" indent="0">
              <a:buNone/>
            </a:pPr>
            <a:r>
              <a:rPr lang="en-US" altLang="ko-KR" sz="1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21180047 </a:t>
            </a:r>
            <a:r>
              <a:rPr lang="ko-KR" altLang="en-US" sz="1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유하</a:t>
            </a:r>
            <a:endParaRPr lang="en-US" altLang="ko-KR" sz="1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C09D1117-4487-38AE-7CEC-0FAC92627B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4697" y="3098187"/>
            <a:ext cx="3323077" cy="2332329"/>
          </a:xfrm>
          <a:prstGeom prst="rect">
            <a:avLst/>
          </a:prstGeom>
        </p:spPr>
      </p:pic>
      <p:pic>
        <p:nvPicPr>
          <p:cNvPr id="1026" name="Picture 2" descr="포켓몬스터 극장판 단편 : 피카츄의 여름방학 | 왓챠">
            <a:extLst>
              <a:ext uri="{FF2B5EF4-FFF2-40B4-BE49-F238E27FC236}">
                <a16:creationId xmlns:a16="http://schemas.microsoft.com/office/drawing/2014/main" id="{EF123C09-11D2-236B-015C-89EAFB6A67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1" y="1149389"/>
            <a:ext cx="4052642" cy="227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오디오 17">
            <a:hlinkClick r:id="" action="ppaction://media"/>
            <a:extLst>
              <a:ext uri="{FF2B5EF4-FFF2-40B4-BE49-F238E27FC236}">
                <a16:creationId xmlns:a16="http://schemas.microsoft.com/office/drawing/2014/main" id="{F9E2D281-C956-9ABC-77CC-B09E52589C54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rcRect l="-118750" t="-118750" r="-118750" b="-118750"/>
          <a:stretch>
            <a:fillRect/>
          </a:stretch>
        </p:blipFill>
        <p:spPr>
          <a:xfrm>
            <a:off x="7766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213587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004"/>
    </mc:Choice>
    <mc:Fallback>
      <p:transition spd="slow" advTm="600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/>
          <p:cNvSpPr/>
          <p:nvPr/>
        </p:nvSpPr>
        <p:spPr>
          <a:xfrm>
            <a:off x="681040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395" fontAlgn="auto" latinLnBrk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altLang="ko-KR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1. </a:t>
            </a:r>
            <a:r>
              <a:rPr kumimoji="0" lang="ko-KR" altLang="en-US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게임 소개 및 컨셉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92F6D73-8BDF-713A-69B5-312321530A4B}"/>
              </a:ext>
            </a:extLst>
          </p:cNvPr>
          <p:cNvSpPr txBox="1"/>
          <p:nvPr/>
        </p:nvSpPr>
        <p:spPr>
          <a:xfrm>
            <a:off x="681038" y="1825625"/>
            <a:ext cx="42100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9" marR="0" lvl="0" indent="-228599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게임 제목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피카츄 배구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228599" marR="0" lvl="0" indent="-228599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장르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2D </a:t>
            </a: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스포츠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/</a:t>
            </a:r>
            <a:r>
              <a:rPr kumimoji="1" lang="ko-KR" altLang="en-US" sz="160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액션 게임</a:t>
            </a:r>
            <a:endParaRPr kumimoji="1" lang="en-US" altLang="ko-KR" sz="160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228599" marR="0" lvl="0" indent="-228599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핵심 컨셉</a:t>
            </a:r>
            <a:r>
              <a:rPr kumimoji="1"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1:1 </a:t>
            </a:r>
            <a:r>
              <a:rPr kumimoji="1"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배구 대결을 펼치는 간단하면서도 중독성 있는 </a:t>
            </a:r>
            <a:r>
              <a:rPr kumimoji="1"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2D </a:t>
            </a:r>
            <a:r>
              <a:rPr kumimoji="1"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스포츠 게임</a:t>
            </a:r>
            <a:r>
              <a:rPr kumimoji="1" lang="en-US" altLang="ko-KR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pPr marL="228599" marR="0" lvl="0" indent="-228599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주요 재미 요소 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간단한 조작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빠른 경기 진행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6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멀티플레이 지원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L="228599" marR="0" lvl="0" indent="-228599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게임 목표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: </a:t>
            </a: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조작키를 통해 상대방과 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1:1 </a:t>
            </a: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배구 대결을 펼칩니다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을 바닥에 떨어뜨리지 않고 상대방의 코트에 공을 넣어 점수를 획득하면 승리합니다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A38193AB-AF8B-EA52-206D-5572B23AB9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4913" y="2273300"/>
            <a:ext cx="4566424" cy="3205800"/>
          </a:xfrm>
          <a:prstGeom prst="rect">
            <a:avLst/>
          </a:prstGeom>
          <a:noFill/>
        </p:spPr>
      </p:pic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F946FD1E-C9A0-2B86-B09F-C180A0716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96113" y="6356356"/>
            <a:ext cx="222885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latinLnBrk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341CF15-90C7-47A9-8FFA-2FDDB9B7E1D3}" type="slidenum">
              <a:rPr lang="ko-KR" altLang="en-US" b="0" i="0" u="none" strike="noStrike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</a:rPr>
              <a:pPr marR="0" lvl="0" indent="0" latinLnBrk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lang="ko-KR" altLang="en-US" b="0" i="0" u="none" strike="noStrike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</a:endParaRPr>
          </a:p>
        </p:txBody>
      </p:sp>
      <p:pic>
        <p:nvPicPr>
          <p:cNvPr id="6" name="오디오 5">
            <a:hlinkClick r:id="" action="ppaction://media"/>
            <a:extLst>
              <a:ext uri="{FF2B5EF4-FFF2-40B4-BE49-F238E27FC236}">
                <a16:creationId xmlns:a16="http://schemas.microsoft.com/office/drawing/2014/main" id="{D04BCA30-3DF8-677E-BB74-EBE5AC5A37C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118750" t="-118750" r="-118750" b="-118750"/>
          <a:stretch>
            <a:fillRect/>
          </a:stretch>
        </p:blipFill>
        <p:spPr>
          <a:xfrm>
            <a:off x="7766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012807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3476"/>
    </mc:Choice>
    <mc:Fallback>
      <p:transition spd="slow" advTm="2347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C773FBA5-BD6B-57B2-8687-CBD9BC86C17C}"/>
              </a:ext>
            </a:extLst>
          </p:cNvPr>
          <p:cNvSpPr/>
          <p:nvPr/>
        </p:nvSpPr>
        <p:spPr>
          <a:xfrm>
            <a:off x="4783835" y="1469495"/>
            <a:ext cx="4485390" cy="49023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9DABCFA3-04E8-F237-CC52-A2E1118E339D}"/>
              </a:ext>
            </a:extLst>
          </p:cNvPr>
          <p:cNvSpPr/>
          <p:nvPr/>
        </p:nvSpPr>
        <p:spPr>
          <a:xfrm>
            <a:off x="600073" y="1479141"/>
            <a:ext cx="3608263" cy="4868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681040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395" fontAlgn="auto" latinLnBrk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altLang="ko-KR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2. </a:t>
            </a:r>
            <a:r>
              <a:rPr kumimoji="0" lang="ko-KR" altLang="en-US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예상 게임 진행 흐름</a:t>
            </a: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F946FD1E-C9A0-2B86-B09F-C180A0716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96113" y="6356356"/>
            <a:ext cx="222885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latinLnBrk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341CF15-90C7-47A9-8FFA-2FDDB9B7E1D3}" type="slidenum">
              <a:rPr lang="ko-KR" altLang="en-US" b="0" i="0" u="none" strike="noStrike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</a:rPr>
              <a:pPr marR="0" lvl="0" indent="0" latinLnBrk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lang="ko-KR" altLang="en-US" b="0" i="0" u="none" strike="noStrike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C2CAF91-6A85-9C47-6995-198D8C1DE8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2731" y="2087078"/>
            <a:ext cx="4267597" cy="29920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F756A0B-91CD-2B9E-B81E-27FC405016CA}"/>
              </a:ext>
            </a:extLst>
          </p:cNvPr>
          <p:cNvSpPr txBox="1"/>
          <p:nvPr/>
        </p:nvSpPr>
        <p:spPr>
          <a:xfrm>
            <a:off x="590358" y="1469496"/>
            <a:ext cx="3608262" cy="4984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</a:rPr>
              <a:t>게임 조작키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D9265033-6324-2FD7-B5F2-D6A3F619D4E5}"/>
              </a:ext>
            </a:extLst>
          </p:cNvPr>
          <p:cNvGrpSpPr/>
          <p:nvPr/>
        </p:nvGrpSpPr>
        <p:grpSpPr>
          <a:xfrm>
            <a:off x="1009430" y="2765456"/>
            <a:ext cx="2653877" cy="1157415"/>
            <a:chOff x="4720420" y="880692"/>
            <a:chExt cx="2653877" cy="1157415"/>
          </a:xfrm>
        </p:grpSpPr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546EF720-165A-2476-0404-7105BB0135B0}"/>
                </a:ext>
              </a:extLst>
            </p:cNvPr>
            <p:cNvSpPr/>
            <p:nvPr/>
          </p:nvSpPr>
          <p:spPr>
            <a:xfrm>
              <a:off x="6204746" y="880692"/>
              <a:ext cx="540000" cy="54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solidFill>
                    <a:schemeClr val="tx1"/>
                  </a:solidFill>
                </a:rPr>
                <a:t>W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직사각형 19">
              <a:extLst>
                <a:ext uri="{FF2B5EF4-FFF2-40B4-BE49-F238E27FC236}">
                  <a16:creationId xmlns:a16="http://schemas.microsoft.com/office/drawing/2014/main" id="{8C02086B-D672-EA9B-6D41-6CC903C32838}"/>
                </a:ext>
              </a:extLst>
            </p:cNvPr>
            <p:cNvSpPr/>
            <p:nvPr/>
          </p:nvSpPr>
          <p:spPr>
            <a:xfrm>
              <a:off x="5575195" y="1492547"/>
              <a:ext cx="540000" cy="54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solidFill>
                    <a:schemeClr val="tx1"/>
                  </a:solidFill>
                </a:rPr>
                <a:t>A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1" name="직사각형 20">
              <a:extLst>
                <a:ext uri="{FF2B5EF4-FFF2-40B4-BE49-F238E27FC236}">
                  <a16:creationId xmlns:a16="http://schemas.microsoft.com/office/drawing/2014/main" id="{B45FD358-F59C-B84A-7F93-A6AC440CF411}"/>
                </a:ext>
              </a:extLst>
            </p:cNvPr>
            <p:cNvSpPr/>
            <p:nvPr/>
          </p:nvSpPr>
          <p:spPr>
            <a:xfrm>
              <a:off x="6204746" y="1492547"/>
              <a:ext cx="540000" cy="54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solidFill>
                    <a:schemeClr val="tx1"/>
                  </a:solidFill>
                </a:rPr>
                <a:t>S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직사각형 21">
              <a:extLst>
                <a:ext uri="{FF2B5EF4-FFF2-40B4-BE49-F238E27FC236}">
                  <a16:creationId xmlns:a16="http://schemas.microsoft.com/office/drawing/2014/main" id="{E8BF70C2-0742-97BC-946B-A82D6BFED88C}"/>
                </a:ext>
              </a:extLst>
            </p:cNvPr>
            <p:cNvSpPr/>
            <p:nvPr/>
          </p:nvSpPr>
          <p:spPr>
            <a:xfrm>
              <a:off x="6834297" y="1492547"/>
              <a:ext cx="540000" cy="54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solidFill>
                    <a:schemeClr val="tx1"/>
                  </a:solidFill>
                </a:rPr>
                <a:t>D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BF559D68-9B12-1AB6-9569-D1338BFFF232}"/>
                </a:ext>
              </a:extLst>
            </p:cNvPr>
            <p:cNvSpPr/>
            <p:nvPr/>
          </p:nvSpPr>
          <p:spPr>
            <a:xfrm>
              <a:off x="4720420" y="1498107"/>
              <a:ext cx="540000" cy="54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solidFill>
                    <a:schemeClr val="tx1"/>
                  </a:solidFill>
                </a:rPr>
                <a:t>Z</a:t>
              </a:r>
              <a:endParaRPr lang="ko-KR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DD13203-9F39-98C9-209D-904C84E0A2D2}"/>
              </a:ext>
            </a:extLst>
          </p:cNvPr>
          <p:cNvSpPr txBox="1"/>
          <p:nvPr/>
        </p:nvSpPr>
        <p:spPr>
          <a:xfrm>
            <a:off x="590355" y="4256470"/>
            <a:ext cx="3603587" cy="4984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ko-KR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2</a:t>
            </a: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</a:rPr>
              <a:t>P</a:t>
            </a: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6A650F78-8FCC-9D4B-C175-C8F872A6E346}"/>
              </a:ext>
            </a:extLst>
          </p:cNvPr>
          <p:cNvSpPr/>
          <p:nvPr/>
        </p:nvSpPr>
        <p:spPr>
          <a:xfrm>
            <a:off x="2700761" y="4827284"/>
            <a:ext cx="540000" cy="54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↑</a:t>
            </a: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AF91EE46-25DB-951A-E42D-2A0D4F98A90D}"/>
              </a:ext>
            </a:extLst>
          </p:cNvPr>
          <p:cNvSpPr/>
          <p:nvPr/>
        </p:nvSpPr>
        <p:spPr>
          <a:xfrm>
            <a:off x="2071210" y="5439139"/>
            <a:ext cx="540000" cy="54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←</a:t>
            </a: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225C84F4-D120-BF04-06DD-5D51AD185A52}"/>
              </a:ext>
            </a:extLst>
          </p:cNvPr>
          <p:cNvSpPr/>
          <p:nvPr/>
        </p:nvSpPr>
        <p:spPr>
          <a:xfrm>
            <a:off x="2700761" y="5439139"/>
            <a:ext cx="540000" cy="54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↓</a:t>
            </a: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EA8DFA82-E8D4-7E92-F57A-F818B063ABA5}"/>
              </a:ext>
            </a:extLst>
          </p:cNvPr>
          <p:cNvSpPr/>
          <p:nvPr/>
        </p:nvSpPr>
        <p:spPr>
          <a:xfrm>
            <a:off x="3330312" y="5439139"/>
            <a:ext cx="540000" cy="540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→</a:t>
            </a:r>
          </a:p>
        </p:txBody>
      </p:sp>
      <p:grpSp>
        <p:nvGrpSpPr>
          <p:cNvPr id="60" name="그룹 59">
            <a:extLst>
              <a:ext uri="{FF2B5EF4-FFF2-40B4-BE49-F238E27FC236}">
                <a16:creationId xmlns:a16="http://schemas.microsoft.com/office/drawing/2014/main" id="{33FC132C-1AD5-CD52-B200-438A3D8BCB3B}"/>
              </a:ext>
            </a:extLst>
          </p:cNvPr>
          <p:cNvGrpSpPr/>
          <p:nvPr/>
        </p:nvGrpSpPr>
        <p:grpSpPr>
          <a:xfrm>
            <a:off x="954622" y="5368664"/>
            <a:ext cx="893169" cy="610475"/>
            <a:chOff x="241299" y="5169694"/>
            <a:chExt cx="893169" cy="610475"/>
          </a:xfrm>
        </p:grpSpPr>
        <p:cxnSp>
          <p:nvCxnSpPr>
            <p:cNvPr id="39" name="직선 연결선 38">
              <a:extLst>
                <a:ext uri="{FF2B5EF4-FFF2-40B4-BE49-F238E27FC236}">
                  <a16:creationId xmlns:a16="http://schemas.microsoft.com/office/drawing/2014/main" id="{7134CF52-712B-F477-63B2-58F0A4DFE3E3}"/>
                </a:ext>
              </a:extLst>
            </p:cNvPr>
            <p:cNvCxnSpPr>
              <a:cxnSpLocks/>
            </p:cNvCxnSpPr>
            <p:nvPr/>
          </p:nvCxnSpPr>
          <p:spPr>
            <a:xfrm>
              <a:off x="241299" y="5780169"/>
              <a:ext cx="893169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>
              <a:extLst>
                <a:ext uri="{FF2B5EF4-FFF2-40B4-BE49-F238E27FC236}">
                  <a16:creationId xmlns:a16="http://schemas.microsoft.com/office/drawing/2014/main" id="{101EB9AA-719C-04B0-F8A8-5687E47BC35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16806" y="5169694"/>
              <a:ext cx="2337" cy="61047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>
              <a:extLst>
                <a:ext uri="{FF2B5EF4-FFF2-40B4-BE49-F238E27FC236}">
                  <a16:creationId xmlns:a16="http://schemas.microsoft.com/office/drawing/2014/main" id="{CDC2F815-D6D1-0FE3-84F3-48BC8AC5405C}"/>
                </a:ext>
              </a:extLst>
            </p:cNvPr>
            <p:cNvCxnSpPr>
              <a:cxnSpLocks/>
            </p:cNvCxnSpPr>
            <p:nvPr/>
          </p:nvCxnSpPr>
          <p:spPr>
            <a:xfrm>
              <a:off x="595313" y="5181600"/>
              <a:ext cx="532012" cy="137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직선 연결선 46">
              <a:extLst>
                <a:ext uri="{FF2B5EF4-FFF2-40B4-BE49-F238E27FC236}">
                  <a16:creationId xmlns:a16="http://schemas.microsoft.com/office/drawing/2014/main" id="{87A95246-1C83-1158-0223-3BA74A87FF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" y="5180182"/>
              <a:ext cx="793" cy="31812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직선 연결선 48">
              <a:extLst>
                <a:ext uri="{FF2B5EF4-FFF2-40B4-BE49-F238E27FC236}">
                  <a16:creationId xmlns:a16="http://schemas.microsoft.com/office/drawing/2014/main" id="{A1FE815C-0357-C269-BF1C-2A473D4939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7650" y="5486400"/>
              <a:ext cx="369094" cy="238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직선 연결선 50">
              <a:extLst>
                <a:ext uri="{FF2B5EF4-FFF2-40B4-BE49-F238E27FC236}">
                  <a16:creationId xmlns:a16="http://schemas.microsoft.com/office/drawing/2014/main" id="{9BFBB18E-D6FD-4EC9-D72E-3165EDBB4A64}"/>
                </a:ext>
              </a:extLst>
            </p:cNvPr>
            <p:cNvCxnSpPr>
              <a:cxnSpLocks/>
            </p:cNvCxnSpPr>
            <p:nvPr/>
          </p:nvCxnSpPr>
          <p:spPr>
            <a:xfrm rot="-60000" flipV="1">
              <a:off x="250798" y="5474241"/>
              <a:ext cx="9550" cy="3059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27E781CB-D439-E909-302C-804C0AE794CC}"/>
              </a:ext>
            </a:extLst>
          </p:cNvPr>
          <p:cNvSpPr txBox="1"/>
          <p:nvPr/>
        </p:nvSpPr>
        <p:spPr>
          <a:xfrm>
            <a:off x="590356" y="2087078"/>
            <a:ext cx="3608262" cy="4984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ko-KR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</a:rPr>
              <a:t>1P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D257AF2-BE32-F68D-05A1-050E61274227}"/>
              </a:ext>
            </a:extLst>
          </p:cNvPr>
          <p:cNvSpPr txBox="1"/>
          <p:nvPr/>
        </p:nvSpPr>
        <p:spPr>
          <a:xfrm>
            <a:off x="4783836" y="1469495"/>
            <a:ext cx="4485390" cy="4984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시작화면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135304D7-E341-8F24-CF47-069BF86AC7F6}"/>
              </a:ext>
            </a:extLst>
          </p:cNvPr>
          <p:cNvSpPr/>
          <p:nvPr/>
        </p:nvSpPr>
        <p:spPr>
          <a:xfrm>
            <a:off x="983457" y="5704046"/>
            <a:ext cx="833208" cy="2571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2DD8E893-8FE8-BD1B-5188-55AB11AA1092}"/>
              </a:ext>
            </a:extLst>
          </p:cNvPr>
          <p:cNvSpPr/>
          <p:nvPr/>
        </p:nvSpPr>
        <p:spPr>
          <a:xfrm>
            <a:off x="1345146" y="5396601"/>
            <a:ext cx="469658" cy="3336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4DE7106-49FD-A7C0-4E5B-A8A447E4603F}"/>
              </a:ext>
            </a:extLst>
          </p:cNvPr>
          <p:cNvSpPr txBox="1"/>
          <p:nvPr/>
        </p:nvSpPr>
        <p:spPr>
          <a:xfrm>
            <a:off x="916713" y="5621713"/>
            <a:ext cx="9610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/>
              <a:t>Enter</a:t>
            </a:r>
            <a:endParaRPr lang="ko-KR" altLang="en-US" dirty="0"/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AADE5805-3F52-E186-6F0C-E7B3AA88CD2A}"/>
              </a:ext>
            </a:extLst>
          </p:cNvPr>
          <p:cNvSpPr/>
          <p:nvPr/>
        </p:nvSpPr>
        <p:spPr>
          <a:xfrm>
            <a:off x="600073" y="1479141"/>
            <a:ext cx="650877" cy="3077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-1</a:t>
            </a:r>
            <a:endParaRPr lang="ko-KR" altLang="en-US" sz="1200" dirty="0"/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22FC7AFB-051B-8774-5F77-B71B22ADDCA6}"/>
              </a:ext>
            </a:extLst>
          </p:cNvPr>
          <p:cNvSpPr/>
          <p:nvPr/>
        </p:nvSpPr>
        <p:spPr>
          <a:xfrm>
            <a:off x="4786751" y="1469495"/>
            <a:ext cx="650877" cy="3077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-2</a:t>
            </a:r>
            <a:endParaRPr lang="ko-KR" altLang="en-US" sz="1200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F5F9D62-F88D-6B8B-9CF5-44E323B205F2}"/>
              </a:ext>
            </a:extLst>
          </p:cNvPr>
          <p:cNvSpPr txBox="1"/>
          <p:nvPr/>
        </p:nvSpPr>
        <p:spPr>
          <a:xfrm>
            <a:off x="4783833" y="5072436"/>
            <a:ext cx="4485390" cy="12993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피카츄 배구의 시작 화면입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게임 시작 전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400" dirty="0" err="1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싱글플레이</a:t>
            </a: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또는 멀티플레이와 같은 게임 모드를 설정할 수 있습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80F276-4490-775A-B38D-9C65739B670B}"/>
              </a:ext>
            </a:extLst>
          </p:cNvPr>
          <p:cNvSpPr txBox="1"/>
          <p:nvPr/>
        </p:nvSpPr>
        <p:spPr>
          <a:xfrm>
            <a:off x="1840648" y="3904982"/>
            <a:ext cx="1822659" cy="413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동키</a:t>
            </a:r>
            <a:endParaRPr kumimoji="1" lang="en-US" altLang="ko-KR" sz="14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7644EEB-08A8-2085-7370-BE42114D4DF6}"/>
              </a:ext>
            </a:extLst>
          </p:cNvPr>
          <p:cNvSpPr txBox="1"/>
          <p:nvPr/>
        </p:nvSpPr>
        <p:spPr>
          <a:xfrm>
            <a:off x="2047653" y="5919929"/>
            <a:ext cx="1822659" cy="413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동키</a:t>
            </a:r>
            <a:endParaRPr kumimoji="1" lang="en-US" altLang="ko-KR" sz="14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7604B0-4C64-D318-5294-F547C289F419}"/>
              </a:ext>
            </a:extLst>
          </p:cNvPr>
          <p:cNvSpPr txBox="1"/>
          <p:nvPr/>
        </p:nvSpPr>
        <p:spPr>
          <a:xfrm>
            <a:off x="806450" y="3928500"/>
            <a:ext cx="1057756" cy="413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스파이크</a:t>
            </a:r>
            <a:endParaRPr kumimoji="1" lang="en-US" altLang="ko-KR" sz="14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24D3D5-C756-8AFF-7545-58E974B82BE8}"/>
              </a:ext>
            </a:extLst>
          </p:cNvPr>
          <p:cNvSpPr txBox="1"/>
          <p:nvPr/>
        </p:nvSpPr>
        <p:spPr>
          <a:xfrm>
            <a:off x="819445" y="5903037"/>
            <a:ext cx="1057756" cy="413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스파이크</a:t>
            </a:r>
            <a:endParaRPr kumimoji="1" lang="en-US" altLang="ko-KR" sz="14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12" name="오디오 11">
            <a:hlinkClick r:id="" action="ppaction://media"/>
            <a:extLst>
              <a:ext uri="{FF2B5EF4-FFF2-40B4-BE49-F238E27FC236}">
                <a16:creationId xmlns:a16="http://schemas.microsoft.com/office/drawing/2014/main" id="{A721F539-362C-9F32-AB58-112F04943BF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118750" t="-118750" r="-118750" b="-118750"/>
          <a:stretch>
            <a:fillRect/>
          </a:stretch>
        </p:blipFill>
        <p:spPr>
          <a:xfrm>
            <a:off x="7766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83247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826"/>
    </mc:Choice>
    <mc:Fallback>
      <p:transition spd="slow" advTm="88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직사각형 25">
            <a:extLst>
              <a:ext uri="{FF2B5EF4-FFF2-40B4-BE49-F238E27FC236}">
                <a16:creationId xmlns:a16="http://schemas.microsoft.com/office/drawing/2014/main" id="{1374D6B4-554A-14B9-AA20-70C5F4DED754}"/>
              </a:ext>
            </a:extLst>
          </p:cNvPr>
          <p:cNvSpPr/>
          <p:nvPr/>
        </p:nvSpPr>
        <p:spPr>
          <a:xfrm>
            <a:off x="5185644" y="1481625"/>
            <a:ext cx="4485390" cy="49023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CF7BCABF-D88F-F3ED-3BD3-D2B2769F9E3B}"/>
              </a:ext>
            </a:extLst>
          </p:cNvPr>
          <p:cNvSpPr/>
          <p:nvPr/>
        </p:nvSpPr>
        <p:spPr>
          <a:xfrm>
            <a:off x="467610" y="1470678"/>
            <a:ext cx="4485390" cy="49023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681040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395" fontAlgn="auto" latinLnBrk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altLang="ko-KR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2. </a:t>
            </a:r>
            <a:r>
              <a:rPr kumimoji="0" lang="ko-KR" altLang="en-US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예상 게임 진행 흐름</a:t>
            </a: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F946FD1E-C9A0-2B86-B09F-C180A0716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96113" y="6356356"/>
            <a:ext cx="222885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latinLnBrk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341CF15-90C7-47A9-8FFA-2FDDB9B7E1D3}" type="slidenum">
              <a:rPr lang="ko-KR" altLang="en-US" b="0" i="0" u="none" strike="noStrike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</a:rPr>
              <a:pPr marR="0" lvl="0" indent="0" latinLnBrk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lang="ko-KR" altLang="en-US" b="0" i="0" u="none" strike="noStrike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9D716B31-1CF5-B2B1-4673-564C667940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8599" y="2065523"/>
            <a:ext cx="1993588" cy="1382894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64BB0889-9999-AE82-F20A-D0A8A3335F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9616" y="2071293"/>
            <a:ext cx="1957020" cy="1382894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657C33AB-67C6-DC83-D482-BBD13E43D6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1104" y="1981699"/>
            <a:ext cx="3938401" cy="2759560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936CEF51-FADD-D7AC-5C7D-779F6CDA0F6E}"/>
              </a:ext>
            </a:extLst>
          </p:cNvPr>
          <p:cNvSpPr/>
          <p:nvPr/>
        </p:nvSpPr>
        <p:spPr>
          <a:xfrm>
            <a:off x="467610" y="1470678"/>
            <a:ext cx="650877" cy="3077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-3</a:t>
            </a:r>
            <a:endParaRPr lang="ko-KR" altLang="en-US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27CB23-5EAB-5276-FE3C-37ABED071CA8}"/>
              </a:ext>
            </a:extLst>
          </p:cNvPr>
          <p:cNvSpPr txBox="1"/>
          <p:nvPr/>
        </p:nvSpPr>
        <p:spPr>
          <a:xfrm>
            <a:off x="467609" y="1484915"/>
            <a:ext cx="4485390" cy="4984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게임 시작 시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FCDC78-046F-9C16-93EC-C5CF6E699AA2}"/>
              </a:ext>
            </a:extLst>
          </p:cNvPr>
          <p:cNvSpPr txBox="1"/>
          <p:nvPr/>
        </p:nvSpPr>
        <p:spPr>
          <a:xfrm>
            <a:off x="467609" y="4741259"/>
            <a:ext cx="4485390" cy="16317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게임이 시작되면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서브권을 가진 캐릭터의 머리 위로 공이 떨어집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때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플레이어는 공을 쳐서 상대방 코트로 넘기는 것으로 본격적인 경기가 시작됩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22F62C91-DAED-7E72-596D-609104516D18}"/>
              </a:ext>
            </a:extLst>
          </p:cNvPr>
          <p:cNvSpPr/>
          <p:nvPr/>
        </p:nvSpPr>
        <p:spPr>
          <a:xfrm>
            <a:off x="5185644" y="1481625"/>
            <a:ext cx="650877" cy="3077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-4</a:t>
            </a:r>
            <a:endParaRPr lang="ko-KR" alt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A7E9B21-3A72-CB9C-8A2F-7DB64624B39B}"/>
              </a:ext>
            </a:extLst>
          </p:cNvPr>
          <p:cNvSpPr txBox="1"/>
          <p:nvPr/>
        </p:nvSpPr>
        <p:spPr>
          <a:xfrm>
            <a:off x="5185643" y="3550920"/>
            <a:ext cx="4485390" cy="2833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기본 공격</a:t>
            </a:r>
            <a:endParaRPr kumimoji="1"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플레이어는 이동키를 통해 캐릭터를 이동시키며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공이 캐릭터와 닿으면 공을 칠 수 있습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 때는 특별한 기술 없이 기본적으로 공을 넘깁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스파이크 공격</a:t>
            </a:r>
            <a:endParaRPr kumimoji="1"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스파이크 키를 사용하면 캐릭터가 강한 스파이크를 날립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 기술은 일반공격보다 더 강력하게 공을 칠 수 있습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F88ED9F-E48F-D0F0-BAE7-E605BB4AA46F}"/>
              </a:ext>
            </a:extLst>
          </p:cNvPr>
          <p:cNvSpPr txBox="1"/>
          <p:nvPr/>
        </p:nvSpPr>
        <p:spPr>
          <a:xfrm>
            <a:off x="5185643" y="1464544"/>
            <a:ext cx="4485390" cy="4984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게임 조작키 </a:t>
            </a:r>
            <a:r>
              <a:rPr kumimoji="1" lang="en-US" altLang="ko-KR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기본</a:t>
            </a:r>
            <a:r>
              <a:rPr kumimoji="1" lang="en-US" altLang="ko-KR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/</a:t>
            </a: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스파이크 공격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7" name="오디오 6">
            <a:hlinkClick r:id="" action="ppaction://media"/>
            <a:extLst>
              <a:ext uri="{FF2B5EF4-FFF2-40B4-BE49-F238E27FC236}">
                <a16:creationId xmlns:a16="http://schemas.microsoft.com/office/drawing/2014/main" id="{4925BCDF-7818-AE48-883B-763E936B62A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rcRect l="-118750" t="-118750" r="-118750" b="-118750"/>
          <a:stretch>
            <a:fillRect/>
          </a:stretch>
        </p:blipFill>
        <p:spPr>
          <a:xfrm>
            <a:off x="7766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427614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1890"/>
    </mc:Choice>
    <mc:Fallback>
      <p:transition spd="slow" advTm="3189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직사각형 23">
            <a:extLst>
              <a:ext uri="{FF2B5EF4-FFF2-40B4-BE49-F238E27FC236}">
                <a16:creationId xmlns:a16="http://schemas.microsoft.com/office/drawing/2014/main" id="{873A2B23-2134-9128-B7D8-C9D5F1B5E583}"/>
              </a:ext>
            </a:extLst>
          </p:cNvPr>
          <p:cNvSpPr/>
          <p:nvPr/>
        </p:nvSpPr>
        <p:spPr>
          <a:xfrm>
            <a:off x="5122002" y="1470678"/>
            <a:ext cx="4485390" cy="49023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1DEC5B34-E850-194D-E441-A8BE6D100EE1}"/>
              </a:ext>
            </a:extLst>
          </p:cNvPr>
          <p:cNvSpPr/>
          <p:nvPr/>
        </p:nvSpPr>
        <p:spPr>
          <a:xfrm>
            <a:off x="5122002" y="1470678"/>
            <a:ext cx="650877" cy="3077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-6</a:t>
            </a:r>
            <a:endParaRPr lang="ko-KR" altLang="en-US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932F54-A3FF-3A82-298E-49ECEDA5E24E}"/>
              </a:ext>
            </a:extLst>
          </p:cNvPr>
          <p:cNvSpPr txBox="1"/>
          <p:nvPr/>
        </p:nvSpPr>
        <p:spPr>
          <a:xfrm>
            <a:off x="5122001" y="4741259"/>
            <a:ext cx="4485390" cy="16317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게임 종료</a:t>
            </a:r>
            <a:endParaRPr kumimoji="1"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설정된 일정 점수 달성 시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, </a:t>
            </a: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게임이 종료됩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4ADDE61C-1038-6450-9813-8D1F728F7E66}"/>
              </a:ext>
            </a:extLst>
          </p:cNvPr>
          <p:cNvSpPr/>
          <p:nvPr/>
        </p:nvSpPr>
        <p:spPr>
          <a:xfrm>
            <a:off x="467610" y="1470678"/>
            <a:ext cx="4485390" cy="49023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직사각형 22"/>
          <p:cNvSpPr/>
          <p:nvPr/>
        </p:nvSpPr>
        <p:spPr>
          <a:xfrm>
            <a:off x="681040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395" fontAlgn="auto" latinLnBrk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altLang="ko-KR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2. </a:t>
            </a:r>
            <a:r>
              <a:rPr kumimoji="0" lang="ko-KR" altLang="en-US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예상 게임 진행 흐름</a:t>
            </a: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F946FD1E-C9A0-2B86-B09F-C180A0716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96113" y="6356356"/>
            <a:ext cx="222885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latinLnBrk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341CF15-90C7-47A9-8FFA-2FDDB9B7E1D3}" type="slidenum">
              <a:rPr lang="ko-KR" altLang="en-US" b="0" i="0" u="none" strike="noStrike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</a:rPr>
              <a:pPr marR="0" lvl="0" indent="0" latinLnBrk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lang="ko-KR" altLang="en-US" b="0" i="0" u="none" strike="noStrike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BF932AEB-BAE7-88D0-1B18-3455C294AE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34" y="1883911"/>
            <a:ext cx="4139958" cy="2910687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4383E5DC-A7FD-1804-E732-763B90C289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3292" y="1904956"/>
            <a:ext cx="4065859" cy="2853356"/>
          </a:xfrm>
          <a:prstGeom prst="rect">
            <a:avLst/>
          </a:prstGeom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id="{6840E3CD-1CC1-0ABA-108C-A19A4C2411C2}"/>
              </a:ext>
            </a:extLst>
          </p:cNvPr>
          <p:cNvSpPr/>
          <p:nvPr/>
        </p:nvSpPr>
        <p:spPr>
          <a:xfrm>
            <a:off x="467610" y="1470678"/>
            <a:ext cx="650877" cy="30779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2-5</a:t>
            </a:r>
            <a:endParaRPr lang="ko-KR" altLang="en-US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1E4010-C96F-BCD3-C1D0-968D482BC9BB}"/>
              </a:ext>
            </a:extLst>
          </p:cNvPr>
          <p:cNvSpPr txBox="1"/>
          <p:nvPr/>
        </p:nvSpPr>
        <p:spPr>
          <a:xfrm>
            <a:off x="467609" y="4741259"/>
            <a:ext cx="4485390" cy="16317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b="1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슬라이딩</a:t>
            </a:r>
            <a:endParaRPr kumimoji="1" lang="en-US" altLang="ko-KR" sz="1400" b="1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marR="0" lvl="0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이동키와 스파이크 키를 함께 누르면 해당 방향으로 빠르게 슬라이딩 하여 이동과 수비가 가능합니다</a:t>
            </a:r>
            <a:r>
              <a:rPr kumimoji="1" lang="en-US" altLang="ko-KR" sz="14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6D61FA9-CF08-6908-DD47-EBD1477362B0}"/>
              </a:ext>
            </a:extLst>
          </p:cNvPr>
          <p:cNvSpPr txBox="1"/>
          <p:nvPr/>
        </p:nvSpPr>
        <p:spPr>
          <a:xfrm>
            <a:off x="5122001" y="1481834"/>
            <a:ext cx="4485390" cy="4984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게임 종료 화면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56538C-929C-27E6-5670-3BD6D7643366}"/>
              </a:ext>
            </a:extLst>
          </p:cNvPr>
          <p:cNvSpPr txBox="1"/>
          <p:nvPr/>
        </p:nvSpPr>
        <p:spPr>
          <a:xfrm>
            <a:off x="467609" y="1462466"/>
            <a:ext cx="4485390" cy="4984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ctr" defTabSz="914395" fontAlgn="auto" latinLnBrk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게임 조작법 </a:t>
            </a:r>
            <a:r>
              <a:rPr kumimoji="1" lang="en-US" altLang="ko-KR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: </a:t>
            </a:r>
            <a:r>
              <a:rPr kumimoji="1" lang="ko-KR" altLang="en-US" sz="1600" dirty="0">
                <a:latin typeface="HY헤드라인M" panose="02030600000101010101" pitchFamily="18" charset="-127"/>
                <a:ea typeface="HY헤드라인M" panose="02030600000101010101" pitchFamily="18" charset="-127"/>
              </a:rPr>
              <a:t>슬라이딩</a:t>
            </a:r>
            <a:endParaRPr kumimoji="1" lang="en-US" altLang="ko-KR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pic>
        <p:nvPicPr>
          <p:cNvPr id="7" name="오디오 6">
            <a:hlinkClick r:id="" action="ppaction://media"/>
            <a:extLst>
              <a:ext uri="{FF2B5EF4-FFF2-40B4-BE49-F238E27FC236}">
                <a16:creationId xmlns:a16="http://schemas.microsoft.com/office/drawing/2014/main" id="{B27E9258-96B8-E3CD-9099-3B79DCCD401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118750" t="-118750" r="-118750" b="-118750"/>
          <a:stretch>
            <a:fillRect/>
          </a:stretch>
        </p:blipFill>
        <p:spPr>
          <a:xfrm>
            <a:off x="7766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0717923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400"/>
    </mc:Choice>
    <mc:Fallback>
      <p:transition spd="slow" advTm="144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직사각형 22"/>
          <p:cNvSpPr/>
          <p:nvPr/>
        </p:nvSpPr>
        <p:spPr>
          <a:xfrm>
            <a:off x="681040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395" fontAlgn="auto" latinLnBrk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altLang="ko-KR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3. </a:t>
            </a:r>
            <a:r>
              <a:rPr kumimoji="0" lang="ko-KR" altLang="en-US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개발 일정 </a:t>
            </a:r>
            <a:r>
              <a:rPr kumimoji="0" lang="en-US" altLang="ko-KR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(8</a:t>
            </a:r>
            <a:r>
              <a:rPr kumimoji="0" lang="ko-KR" altLang="en-US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주</a:t>
            </a:r>
            <a:r>
              <a:rPr kumimoji="0" lang="en-US" altLang="ko-KR" sz="28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HY헤드라인M" panose="02030600000101010101" pitchFamily="18" charset="-127"/>
                <a:ea typeface="HY헤드라인M" panose="02030600000101010101" pitchFamily="18" charset="-127"/>
                <a:cs typeface="+mj-cs"/>
              </a:rPr>
              <a:t>)</a:t>
            </a:r>
            <a:endParaRPr kumimoji="0" lang="ko-KR" altLang="en-US" sz="2800" b="1" i="0" u="none" strike="noStrike" cap="none" spc="0" normalizeH="0" baseline="0" noProof="0" dirty="0">
              <a:ln>
                <a:noFill/>
              </a:ln>
              <a:effectLst/>
              <a:uLnTx/>
              <a:uFillTx/>
              <a:latin typeface="HY헤드라인M" panose="02030600000101010101" pitchFamily="18" charset="-127"/>
              <a:ea typeface="HY헤드라인M" panose="02030600000101010101" pitchFamily="18" charset="-127"/>
              <a:cs typeface="+mj-cs"/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F946FD1E-C9A0-2B86-B09F-C180A0716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96113" y="6356356"/>
            <a:ext cx="222885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latinLnBrk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341CF15-90C7-47A9-8FFA-2FDDB9B7E1D3}" type="slidenum">
              <a:rPr lang="ko-KR" altLang="en-US" b="0" i="0" u="none" strike="noStrike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50" charset="-127"/>
              </a:rPr>
              <a:pPr marR="0" lvl="0" indent="0" latinLnBrk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lang="ko-KR" altLang="en-US" b="0" i="0" u="none" strike="noStrike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맑은 고딕" panose="020B0503020000020004" pitchFamily="50" charset="-127"/>
            </a:endParaRPr>
          </a:p>
        </p:txBody>
      </p:sp>
      <p:graphicFrame>
        <p:nvGraphicFramePr>
          <p:cNvPr id="2" name="표 7">
            <a:extLst>
              <a:ext uri="{FF2B5EF4-FFF2-40B4-BE49-F238E27FC236}">
                <a16:creationId xmlns:a16="http://schemas.microsoft.com/office/drawing/2014/main" id="{3F187819-2A19-5983-6121-FF49F9153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749388"/>
              </p:ext>
            </p:extLst>
          </p:nvPr>
        </p:nvGraphicFramePr>
        <p:xfrm>
          <a:off x="403291" y="1556791"/>
          <a:ext cx="8946448" cy="436876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87025">
                  <a:extLst>
                    <a:ext uri="{9D8B030D-6E8A-4147-A177-3AD203B41FA5}">
                      <a16:colId xmlns:a16="http://schemas.microsoft.com/office/drawing/2014/main" val="67591112"/>
                    </a:ext>
                  </a:extLst>
                </a:gridCol>
                <a:gridCol w="7959423">
                  <a:extLst>
                    <a:ext uri="{9D8B030D-6E8A-4147-A177-3AD203B41FA5}">
                      <a16:colId xmlns:a16="http://schemas.microsoft.com/office/drawing/2014/main" val="3466656470"/>
                    </a:ext>
                  </a:extLst>
                </a:gridCol>
              </a:tblGrid>
              <a:tr h="440805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개발 일정</a:t>
                      </a: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 (8</a:t>
                      </a:r>
                      <a:r>
                        <a:rPr lang="ko-KR" altLang="en-US" sz="1400" b="1" dirty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간 계획</a:t>
                      </a:r>
                      <a:r>
                        <a:rPr lang="en-US" altLang="ko-KR" sz="1400" b="1" dirty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)</a:t>
                      </a:r>
                      <a:endParaRPr lang="ko-KR" altLang="en-US" sz="1400" b="1" dirty="0"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39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bg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3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47540"/>
                  </a:ext>
                </a:extLst>
              </a:tr>
              <a:tr h="4408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39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0" dirty="0">
                          <a:solidFill>
                            <a:schemeClr val="bg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개발 내용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3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263354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1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배경</a:t>
                      </a:r>
                      <a:r>
                        <a:rPr lang="en-US" altLang="ko-KR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 </a:t>
                      </a: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및 캐릭터 리소스 수집 및 기본 캐릭터 움직임</a:t>
                      </a:r>
                      <a:r>
                        <a:rPr lang="en-US" altLang="ko-KR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, </a:t>
                      </a: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배구공 물리 시스템 구현 </a:t>
                      </a:r>
                      <a:endParaRPr lang="en-US" altLang="ko-KR" sz="1100" b="0" baseline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460116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2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공의 충돌 처리 구현</a:t>
                      </a:r>
                      <a:endParaRPr lang="en-US" altLang="ko-KR" sz="1100" b="0" baseline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688267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3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점수 시스템 및 승리</a:t>
                      </a:r>
                      <a:r>
                        <a:rPr lang="en-US" altLang="ko-KR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/</a:t>
                      </a: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패배 조건 추가</a:t>
                      </a:r>
                      <a:endParaRPr lang="en-US" altLang="ko-KR" sz="1100" b="0" baseline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491032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4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배경 및 </a:t>
                      </a:r>
                      <a:r>
                        <a:rPr lang="en-US" altLang="ko-KR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UI </a:t>
                      </a: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디자인 추가</a:t>
                      </a:r>
                      <a:endParaRPr lang="en-US" altLang="ko-KR" sz="1100" b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3990098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5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사운드 및 애니메이션 추가</a:t>
                      </a:r>
                      <a:endParaRPr lang="en-US" altLang="ko-KR" sz="1100" b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543593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6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버그 수정 및 테스트</a:t>
                      </a:r>
                      <a:endParaRPr lang="en-US" altLang="ko-KR" sz="1100" b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22083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7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테스트 후 미비한 부분 수정 및 보완</a:t>
                      </a:r>
                      <a:endParaRPr lang="en-US" altLang="ko-KR" sz="1100" b="0" baseline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089106"/>
                  </a:ext>
                </a:extLst>
              </a:tr>
              <a:tr h="43589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8</a:t>
                      </a:r>
                      <a:r>
                        <a:rPr lang="ko-KR" altLang="en-US" sz="1100" b="1" dirty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주차</a:t>
                      </a:r>
                      <a:endParaRPr lang="en-US" altLang="ko-KR" sz="1100" b="1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ko-KR" altLang="en-US" sz="1100" b="0" baseline="0" dirty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KoPubWorld돋움체 Bold" panose="020B0600000101010101" charset="-127"/>
                        </a:rPr>
                        <a:t>최종 점검 및 발표 준비</a:t>
                      </a:r>
                      <a:endParaRPr lang="en-US" altLang="ko-KR" sz="1100" b="0" baseline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KoPubWorld돋움체 Bold" panose="020B0600000101010101" charset="-127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2204240"/>
                  </a:ext>
                </a:extLst>
              </a:tr>
            </a:tbl>
          </a:graphicData>
        </a:graphic>
      </p:graphicFrame>
      <p:pic>
        <p:nvPicPr>
          <p:cNvPr id="21" name="오디오 20">
            <a:hlinkClick r:id="" action="ppaction://media"/>
            <a:extLst>
              <a:ext uri="{FF2B5EF4-FFF2-40B4-BE49-F238E27FC236}">
                <a16:creationId xmlns:a16="http://schemas.microsoft.com/office/drawing/2014/main" id="{0C03CD89-A0F3-C980-F010-816331B17BD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118750" t="-118750" r="-118750" b="-118750"/>
          <a:stretch>
            <a:fillRect/>
          </a:stretch>
        </p:blipFill>
        <p:spPr>
          <a:xfrm>
            <a:off x="7766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857097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608"/>
    </mc:Choice>
    <mc:Fallback>
      <p:transition spd="slow" advTm="460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1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테마2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테마2" id="{743724DA-C8BA-47A8-BDA0-C7C3B3422961}" vid="{684C76B0-80A5-4237-9B0C-7CF22F9A2F38}"/>
    </a:ext>
  </a:extLst>
</a:theme>
</file>

<file path=ppt/theme/theme2.xml><?xml version="1.0" encoding="utf-8"?>
<a:theme xmlns:a="http://schemas.openxmlformats.org/drawingml/2006/main" name="1_테마2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테마2" id="{743724DA-C8BA-47A8-BDA0-C7C3B3422961}" vid="{684C76B0-80A5-4237-9B0C-7CF22F9A2F38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2</TotalTime>
  <Words>352</Words>
  <Application>Microsoft Office PowerPoint</Application>
  <PresentationFormat>A4 용지(210x297mm)</PresentationFormat>
  <Paragraphs>84</Paragraphs>
  <Slides>6</Slides>
  <Notes>6</Notes>
  <HiddenSlides>0</HiddenSlides>
  <MMClips>6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</vt:i4>
      </vt:variant>
    </vt:vector>
  </HeadingPairs>
  <TitlesOfParts>
    <vt:vector size="17" baseType="lpstr">
      <vt:lpstr>HY헤드라인M</vt:lpstr>
      <vt:lpstr>굴림</vt:lpstr>
      <vt:lpstr>나눔바른고딕</vt:lpstr>
      <vt:lpstr>맑은 고딕</vt:lpstr>
      <vt:lpstr>Arial</vt:lpstr>
      <vt:lpstr>Calibri</vt:lpstr>
      <vt:lpstr>Calibri Light</vt:lpstr>
      <vt:lpstr>Wingdings</vt:lpstr>
      <vt:lpstr>테마2</vt:lpstr>
      <vt:lpstr>1_테마2</vt:lpstr>
      <vt:lpstr>think-cell Slide</vt:lpstr>
      <vt:lpstr>2D게임프로그래밍 1차 프로젝트 발표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창현 심</dc:creator>
  <cp:lastModifiedBy>창현 심</cp:lastModifiedBy>
  <cp:revision>6</cp:revision>
  <dcterms:created xsi:type="dcterms:W3CDTF">2024-10-13T06:37:30Z</dcterms:created>
  <dcterms:modified xsi:type="dcterms:W3CDTF">2024-10-13T09:12:56Z</dcterms:modified>
</cp:coreProperties>
</file>